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3"/>
  </p:notesMasterIdLst>
  <p:sldIdLst>
    <p:sldId id="1442" r:id="rId2"/>
    <p:sldId id="1530" r:id="rId3"/>
    <p:sldId id="1515" r:id="rId4"/>
    <p:sldId id="1510" r:id="rId5"/>
    <p:sldId id="1517" r:id="rId6"/>
    <p:sldId id="1516" r:id="rId7"/>
    <p:sldId id="1545" r:id="rId8"/>
    <p:sldId id="1546" r:id="rId9"/>
    <p:sldId id="1548" r:id="rId10"/>
    <p:sldId id="1549" r:id="rId11"/>
    <p:sldId id="1547" r:id="rId12"/>
    <p:sldId id="1552" r:id="rId13"/>
    <p:sldId id="1514" r:id="rId14"/>
    <p:sldId id="1520" r:id="rId15"/>
    <p:sldId id="1512" r:id="rId16"/>
    <p:sldId id="1553" r:id="rId17"/>
    <p:sldId id="1521" r:id="rId18"/>
    <p:sldId id="1522" r:id="rId19"/>
    <p:sldId id="1554" r:id="rId20"/>
    <p:sldId id="1555" r:id="rId21"/>
    <p:sldId id="148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1484"/>
    <a:srgbClr val="5B7F95"/>
    <a:srgbClr val="003398"/>
    <a:srgbClr val="71A1A7"/>
    <a:srgbClr val="D5E3E5"/>
    <a:srgbClr val="DFF0CB"/>
    <a:srgbClr val="A6A6A6"/>
    <a:srgbClr val="CBDFEF"/>
    <a:srgbClr val="FFFF00"/>
    <a:srgbClr val="EBF2F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>
        <p:scale>
          <a:sx n="70" d="100"/>
          <a:sy n="70" d="100"/>
        </p:scale>
        <p:origin x="416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1/18/2023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19F40AF-9A69-4603-A449-2C83E8A2793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04000" y="538284"/>
            <a:ext cx="3005180" cy="1116000"/>
          </a:xfrm>
          <a:prstGeom prst="rect">
            <a:avLst/>
          </a:prstGeom>
        </p:spPr>
      </p:pic>
      <p:pic>
        <p:nvPicPr>
          <p:cNvPr id="9" name="Picture 8" descr="Shape, rectangle&#10;&#10;Description automatically generated">
            <a:extLst>
              <a:ext uri="{FF2B5EF4-FFF2-40B4-BE49-F238E27FC236}">
                <a16:creationId xmlns:a16="http://schemas.microsoft.com/office/drawing/2014/main" id="{87826B23-70D3-4E78-9C4C-BC29B698AB9F}"/>
              </a:ext>
            </a:extLst>
          </p:cNvPr>
          <p:cNvPicPr>
            <a:picLocks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41248" y="2109600"/>
            <a:ext cx="10458000" cy="18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546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8102532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439685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30926713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986421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9639810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207237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14C5EC07-3445-4106-AB9D-E3E2E0E12CC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6000"/>
            <a:ext cx="3028552" cy="37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99695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2683189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1315384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0137449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916528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112111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9576982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897076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90861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86425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 err="1">
                <a:solidFill>
                  <a:prstClr val="white"/>
                </a:solidFill>
                <a:cs typeface="Century Gothic"/>
              </a:rPr>
              <a:t>Dankie</a:t>
            </a:r>
            <a:endParaRPr lang="en-US" sz="3200" dirty="0">
              <a:solidFill>
                <a:prstClr val="white"/>
              </a:solidFill>
              <a:cs typeface="Century Gothic"/>
            </a:endParaRP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5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88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3482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34336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</p:spTree>
    <p:extLst>
      <p:ext uri="{BB962C8B-B14F-4D97-AF65-F5344CB8AC3E}">
        <p14:creationId xmlns:p14="http://schemas.microsoft.com/office/powerpoint/2010/main" val="305625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2550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4786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99570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tags" Target="../tags/tag2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D5F675F9-E900-48C7-8A33-05A88494419C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60395" y="6210000"/>
            <a:ext cx="3172769" cy="39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1" r:id="rId5"/>
    <p:sldLayoutId id="2147483712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  <p:sldLayoutId id="2147483700" r:id="rId16"/>
    <p:sldLayoutId id="2147483701" r:id="rId17"/>
    <p:sldLayoutId id="2147483702" r:id="rId18"/>
    <p:sldLayoutId id="2147483703" r:id="rId19"/>
    <p:sldLayoutId id="2147483704" r:id="rId20"/>
    <p:sldLayoutId id="2147483705" r:id="rId21"/>
    <p:sldLayoutId id="2147483706" r:id="rId22"/>
    <p:sldLayoutId id="2147483707" r:id="rId23"/>
    <p:sldLayoutId id="2147483708" r:id="rId24"/>
    <p:sldLayoutId id="2147483709" r:id="rId25"/>
    <p:sldLayoutId id="2147483710" r:id="rId26"/>
  </p:sldLayoutIdLst>
  <p:hf sldNum="0" hd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6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7" Type="http://schemas.openxmlformats.org/officeDocument/2006/relationships/image" Target="../media/image40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5.png"/><Relationship Id="rId5" Type="http://schemas.openxmlformats.org/officeDocument/2006/relationships/image" Target="../media/image34.png"/><Relationship Id="rId4" Type="http://schemas.openxmlformats.org/officeDocument/2006/relationships/image" Target="../media/image3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emf"/><Relationship Id="rId7" Type="http://schemas.openxmlformats.org/officeDocument/2006/relationships/image" Target="../media/image46.emf"/><Relationship Id="rId2" Type="http://schemas.openxmlformats.org/officeDocument/2006/relationships/image" Target="../media/image41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5.emf"/><Relationship Id="rId5" Type="http://schemas.openxmlformats.org/officeDocument/2006/relationships/image" Target="../media/image44.emf"/><Relationship Id="rId4" Type="http://schemas.openxmlformats.org/officeDocument/2006/relationships/image" Target="../media/image43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16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13" Type="http://schemas.openxmlformats.org/officeDocument/2006/relationships/image" Target="../media/image27.svg"/><Relationship Id="rId3" Type="http://schemas.openxmlformats.org/officeDocument/2006/relationships/image" Target="../media/image17.svg"/><Relationship Id="rId7" Type="http://schemas.openxmlformats.org/officeDocument/2006/relationships/image" Target="../media/image21.svg"/><Relationship Id="rId12" Type="http://schemas.openxmlformats.org/officeDocument/2006/relationships/image" Target="../media/image26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0.png"/><Relationship Id="rId11" Type="http://schemas.openxmlformats.org/officeDocument/2006/relationships/image" Target="../media/image25.svg"/><Relationship Id="rId5" Type="http://schemas.openxmlformats.org/officeDocument/2006/relationships/image" Target="../media/image19.svg"/><Relationship Id="rId10" Type="http://schemas.openxmlformats.org/officeDocument/2006/relationships/image" Target="../media/image24.png"/><Relationship Id="rId4" Type="http://schemas.openxmlformats.org/officeDocument/2006/relationships/image" Target="../media/image18.png"/><Relationship Id="rId9" Type="http://schemas.openxmlformats.org/officeDocument/2006/relationships/image" Target="../media/image23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4000" b="1" dirty="0"/>
              <a:t>2023 WKOD </a:t>
            </a:r>
            <a:r>
              <a:rPr lang="en-ZA" sz="4000" b="1" dirty="0" err="1"/>
              <a:t>Handelsmerkhulpbronne</a:t>
            </a:r>
            <a:endParaRPr lang="en-ZA" sz="4000" b="1" dirty="0"/>
          </a:p>
          <a:p>
            <a:endParaRPr lang="en-ZA" sz="3600" dirty="0"/>
          </a:p>
          <a:p>
            <a:r>
              <a:rPr lang="en-ZA" sz="3600" dirty="0"/>
              <a:t>Logos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Visie</a:t>
            </a:r>
            <a:r>
              <a:rPr lang="en-ZA" sz="3600" dirty="0"/>
              <a:t> </a:t>
            </a:r>
            <a:r>
              <a:rPr lang="en-ZA" sz="3600" dirty="0">
                <a:solidFill>
                  <a:srgbClr val="5B7F95"/>
                </a:solidFill>
              </a:rPr>
              <a:t>|</a:t>
            </a:r>
            <a:r>
              <a:rPr lang="en-ZA" sz="3600" dirty="0"/>
              <a:t> </a:t>
            </a:r>
            <a:r>
              <a:rPr lang="en-ZA" sz="3600" dirty="0" err="1"/>
              <a:t>Waardes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 err="1">
                <a:solidFill>
                  <a:schemeClr val="bg1"/>
                </a:solidFill>
              </a:rPr>
              <a:t>Januarie</a:t>
            </a:r>
            <a:r>
              <a:rPr lang="en-ZA" dirty="0">
                <a:solidFill>
                  <a:schemeClr val="bg1"/>
                </a:solidFill>
              </a:rPr>
              <a:t> 2023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 err="1">
                <a:solidFill>
                  <a:schemeClr val="bg1"/>
                </a:solidFill>
              </a:rPr>
              <a:t>Onderwys</a:t>
            </a:r>
            <a:endParaRPr lang="en-ZA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455208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902773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644712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201799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2948988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240719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148962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Graphical user interface&#10;&#10;Description automatically generated">
            <a:extLst>
              <a:ext uri="{FF2B5EF4-FFF2-40B4-BE49-F238E27FC236}">
                <a16:creationId xmlns:a16="http://schemas.microsoft.com/office/drawing/2014/main" id="{7DDCE4A3-6F49-4931-9CFD-6BCC40EE003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75833" y="-531223"/>
            <a:ext cx="5640334" cy="75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038056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657FAD3A-3377-4D7C-A66F-11444F5E0CF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6"/>
          <a:stretch/>
        </p:blipFill>
        <p:spPr>
          <a:xfrm>
            <a:off x="-11248" y="-1278000"/>
            <a:ext cx="12203248" cy="719982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DEFEB3F6-B2F4-4E3D-9DC4-25A606B4A23F}"/>
              </a:ext>
            </a:extLst>
          </p:cNvPr>
          <p:cNvSpPr/>
          <p:nvPr/>
        </p:nvSpPr>
        <p:spPr>
          <a:xfrm>
            <a:off x="-11239" y="-1278000"/>
            <a:ext cx="12455788" cy="7199829"/>
          </a:xfrm>
          <a:prstGeom prst="rect">
            <a:avLst/>
          </a:prstGeom>
          <a:solidFill>
            <a:srgbClr val="0014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DED515D1-4387-45FD-8F5E-AACA48529A05}"/>
              </a:ext>
            </a:extLst>
          </p:cNvPr>
          <p:cNvSpPr/>
          <p:nvPr/>
        </p:nvSpPr>
        <p:spPr>
          <a:xfrm>
            <a:off x="853466" y="1513653"/>
            <a:ext cx="3836248" cy="2573153"/>
          </a:xfrm>
          <a:prstGeom prst="rect">
            <a:avLst/>
          </a:prstGeom>
          <a:noFill/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 err="1">
                <a:solidFill>
                  <a:schemeClr val="bg1"/>
                </a:solidFill>
                <a:cs typeface="Century Gothic"/>
              </a:rPr>
              <a:t>Gehalte</a:t>
            </a:r>
            <a:r>
              <a:rPr lang="en-US" sz="3000" b="1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b="1" dirty="0" err="1">
                <a:solidFill>
                  <a:schemeClr val="bg1"/>
                </a:solidFill>
                <a:cs typeface="Century Gothic"/>
              </a:rPr>
              <a:t>Onderwys</a:t>
            </a:r>
            <a:endParaRPr lang="en-US" sz="3000" b="1" dirty="0">
              <a:solidFill>
                <a:schemeClr val="bg1"/>
              </a:solidFill>
              <a:cs typeface="Century Gothic"/>
            </a:endParaRPr>
          </a:p>
          <a:p>
            <a:pPr>
              <a:defRPr/>
            </a:pP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vir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kind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klaskamer</a:t>
            </a:r>
            <a:endParaRPr lang="en-US" sz="3000" dirty="0">
              <a:solidFill>
                <a:schemeClr val="bg1"/>
              </a:solidFill>
              <a:cs typeface="Century Gothic"/>
            </a:endParaRP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elk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skool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 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cs typeface="Century Gothic"/>
              </a:rPr>
              <a:t>in die </a:t>
            </a:r>
            <a:r>
              <a:rPr lang="en-US" sz="3000" dirty="0" err="1">
                <a:solidFill>
                  <a:schemeClr val="bg1"/>
                </a:solidFill>
                <a:cs typeface="Century Gothic"/>
              </a:rPr>
              <a:t>provinsie</a:t>
            </a:r>
            <a:r>
              <a:rPr lang="en-US" sz="3000" dirty="0">
                <a:solidFill>
                  <a:schemeClr val="bg1"/>
                </a:solidFill>
                <a:cs typeface="Century Gothic"/>
              </a:rPr>
              <a:t>.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41EB9DE-4B7D-48BA-B91D-72396D6B972B}"/>
              </a:ext>
            </a:extLst>
          </p:cNvPr>
          <p:cNvGrpSpPr/>
          <p:nvPr/>
        </p:nvGrpSpPr>
        <p:grpSpPr>
          <a:xfrm>
            <a:off x="853465" y="4294800"/>
            <a:ext cx="9857644" cy="1369086"/>
            <a:chOff x="853465" y="4294800"/>
            <a:chExt cx="9857644" cy="1369086"/>
          </a:xfrm>
        </p:grpSpPr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CE17C02B-2CAE-4E50-B934-FB621C3927F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465" y="4295886"/>
              <a:ext cx="1368000" cy="1368000"/>
            </a:xfrm>
            <a:prstGeom prst="rect">
              <a:avLst/>
            </a:prstGeom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36B472D8-7BC6-43E7-85FA-39E9C71374C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5466" y="4295885"/>
              <a:ext cx="1368000" cy="1368000"/>
            </a:xfrm>
            <a:prstGeom prst="rect">
              <a:avLst/>
            </a:prstGeom>
          </p:spPr>
        </p:pic>
        <p:pic>
          <p:nvPicPr>
            <p:cNvPr id="9" name="Picture 8" descr="A picture containing text, person&#10;&#10;Description automatically generated">
              <a:extLst>
                <a:ext uri="{FF2B5EF4-FFF2-40B4-BE49-F238E27FC236}">
                  <a16:creationId xmlns:a16="http://schemas.microsoft.com/office/drawing/2014/main" id="{F69FD204-3EC2-4969-B465-BD440575B12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1289" y="4294800"/>
              <a:ext cx="1368000" cy="1368000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58FFAAD-F055-418D-968D-F28E09E4DC1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9469" y="4294800"/>
              <a:ext cx="1368000" cy="1368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62FA5FAE-A19B-4518-8046-EBEFCC936866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468" y="4294800"/>
              <a:ext cx="1372975" cy="13680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53B3D9B-1C91-4913-9CFC-1A527F5B01A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3109" y="4294800"/>
              <a:ext cx="1368000" cy="13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5972595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rgbClr val="001484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rgbClr val="001484"/>
                </a:solidFill>
              </a:rPr>
              <a:t>Onderwys</a:t>
            </a:r>
            <a:endParaRPr lang="en-US" sz="4400" dirty="0">
              <a:solidFill>
                <a:srgbClr val="001484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00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ir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klaskamer</a:t>
            </a:r>
            <a:endParaRPr lang="en-ZA" sz="28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kool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die </a:t>
            </a:r>
            <a:r>
              <a:rPr lang="en-ZA" sz="28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28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CFE3910-AF22-4BEB-B8EB-C725406FB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ZA" dirty="0" err="1"/>
              <a:t>Visie</a:t>
            </a:r>
            <a:endParaRPr lang="en-ZA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A8DA00-12D0-4D34-9293-4C1223EE442B}"/>
              </a:ext>
            </a:extLst>
          </p:cNvPr>
          <p:cNvSpPr txBox="1"/>
          <p:nvPr/>
        </p:nvSpPr>
        <p:spPr>
          <a:xfrm>
            <a:off x="2170018" y="5178172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4A3D157-CB37-479F-8C2D-FFE4DA6D624B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1D5B728-B2BD-4F92-9055-FF21BABBFEFA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82C5E458-2227-4179-809B-553EAE762968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C62D19BE-454A-4085-86B9-B491C379F199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DB6A0C-ADCA-4CC4-AB64-07629D3ECDE2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rgbClr val="001484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rgbClr val="001484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93467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621D415E-8AD0-4F40-A264-3713FD220B2C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 err="1">
                <a:solidFill>
                  <a:schemeClr val="bg1"/>
                </a:solidFill>
              </a:rPr>
              <a:t>Gehalte</a:t>
            </a:r>
            <a:r>
              <a:rPr lang="en-US" sz="4400" dirty="0">
                <a:solidFill>
                  <a:srgbClr val="001484"/>
                </a:solidFill>
              </a:rPr>
              <a:t> </a:t>
            </a:r>
            <a:r>
              <a:rPr lang="en-US" sz="4400" dirty="0" err="1">
                <a:solidFill>
                  <a:schemeClr val="bg1"/>
                </a:solidFill>
              </a:rPr>
              <a:t>Onderwys</a:t>
            </a:r>
            <a:endParaRPr lang="en-US" sz="4400" dirty="0">
              <a:solidFill>
                <a:schemeClr val="bg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7003EF8D-30BA-4311-A154-1DC24B8564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47599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8CB53F90-5732-4C26-99E3-272BF8BE371B}"/>
              </a:ext>
            </a:extLst>
          </p:cNvPr>
          <p:cNvSpPr txBox="1"/>
          <p:nvPr/>
        </p:nvSpPr>
        <p:spPr>
          <a:xfrm>
            <a:off x="2170018" y="1926157"/>
            <a:ext cx="7544612" cy="20082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450"/>
              </a:spcAft>
            </a:pP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ir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kind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klaskamer</a:t>
            </a:r>
            <a:endParaRPr lang="en-ZA" sz="28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elk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kool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 </a:t>
            </a:r>
          </a:p>
          <a:p>
            <a:pPr>
              <a:spcAft>
                <a:spcPts val="450"/>
              </a:spcAft>
            </a:pP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die </a:t>
            </a:r>
            <a:r>
              <a:rPr lang="en-ZA" sz="28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provinsie</a:t>
            </a:r>
            <a:r>
              <a:rPr lang="en-ZA" sz="2800" b="1" dirty="0">
                <a:solidFill>
                  <a:schemeClr val="bg1"/>
                </a:solidFill>
                <a:latin typeface="Century Gothic" panose="020B0502020202020204" pitchFamily="34" charset="0"/>
              </a:rPr>
              <a:t>.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AAB4FFD-9F84-4BDC-A742-81DBFB0216D3}"/>
              </a:ext>
            </a:extLst>
          </p:cNvPr>
          <p:cNvSpPr txBox="1"/>
          <p:nvPr/>
        </p:nvSpPr>
        <p:spPr>
          <a:xfrm>
            <a:off x="2170018" y="5278756"/>
            <a:ext cx="95642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Sorgsaam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2BCADA-5BF6-4E85-861E-B6992D256C23}"/>
              </a:ext>
            </a:extLst>
          </p:cNvPr>
          <p:cNvSpPr txBox="1"/>
          <p:nvPr/>
        </p:nvSpPr>
        <p:spPr>
          <a:xfrm>
            <a:off x="3250763" y="5277639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Bevoegd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CC0C13A2-F901-4ECC-B878-2B05A9943DA6}"/>
              </a:ext>
            </a:extLst>
          </p:cNvPr>
          <p:cNvSpPr txBox="1"/>
          <p:nvPr/>
        </p:nvSpPr>
        <p:spPr>
          <a:xfrm>
            <a:off x="4438287" y="5278756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Aanspreeklikheid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2CB5B5D-61A8-484D-A278-2B3E46954A57}"/>
              </a:ext>
            </a:extLst>
          </p:cNvPr>
          <p:cNvSpPr txBox="1"/>
          <p:nvPr/>
        </p:nvSpPr>
        <p:spPr>
          <a:xfrm>
            <a:off x="5947316" y="5278756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Integriteit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A690C7A-08E2-499A-B8AF-4DB384A85C88}"/>
              </a:ext>
            </a:extLst>
          </p:cNvPr>
          <p:cNvSpPr txBox="1"/>
          <p:nvPr/>
        </p:nvSpPr>
        <p:spPr>
          <a:xfrm>
            <a:off x="6984937" y="5278756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Vernuwing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7A89FDDF-6A37-4197-8E7E-B8F38A01FE8B}"/>
              </a:ext>
            </a:extLst>
          </p:cNvPr>
          <p:cNvSpPr txBox="1"/>
          <p:nvPr/>
        </p:nvSpPr>
        <p:spPr>
          <a:xfrm>
            <a:off x="8198166" y="5277638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 err="1">
                <a:solidFill>
                  <a:schemeClr val="bg1"/>
                </a:solidFill>
                <a:latin typeface="Century Gothic" panose="020B0502020202020204" pitchFamily="34" charset="0"/>
              </a:rPr>
              <a:t>Reageer</a:t>
            </a:r>
            <a:endParaRPr lang="en-ZA" sz="1200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97943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pc="240" dirty="0">
                <a:solidFill>
                  <a:srgbClr val="001484"/>
                </a:solidFill>
              </a:rPr>
              <a:t>ONS KERNWAARDES</a:t>
            </a:r>
            <a:br>
              <a:rPr lang="en-US" sz="1600" spc="240" dirty="0">
                <a:solidFill>
                  <a:srgbClr val="001484"/>
                </a:solidFill>
              </a:rPr>
            </a:br>
            <a:r>
              <a:rPr lang="en-US" sz="1600" dirty="0" err="1">
                <a:solidFill>
                  <a:srgbClr val="5B7F95"/>
                </a:solidFill>
              </a:rPr>
              <a:t>Hierdi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des</a:t>
            </a:r>
            <a:r>
              <a:rPr lang="en-US" sz="1600" dirty="0">
                <a:solidFill>
                  <a:srgbClr val="5B7F95"/>
                </a:solidFill>
              </a:rPr>
              <a:t> is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leidend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beginsels</a:t>
            </a:r>
            <a:r>
              <a:rPr lang="en-US" sz="1600" dirty="0">
                <a:solidFill>
                  <a:srgbClr val="5B7F95"/>
                </a:solidFill>
              </a:rPr>
              <a:t> wat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voor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staa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e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i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glo</a:t>
            </a:r>
            <a:r>
              <a:rPr lang="en-US" sz="1600" dirty="0">
                <a:solidFill>
                  <a:srgbClr val="5B7F95"/>
                </a:solidFill>
              </a:rPr>
              <a:t>.</a:t>
            </a:r>
            <a:endParaRPr lang="en-ZA" sz="1600" dirty="0">
              <a:solidFill>
                <a:srgbClr val="5B7F95"/>
              </a:solidFill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B7DD4853-F676-4C4F-8DE7-D6AD3623BE3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365" y="1521496"/>
            <a:ext cx="993882" cy="9938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CC308789-349B-40B4-83F2-58AA2DED8544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89" y="2956992"/>
            <a:ext cx="993882" cy="993882"/>
          </a:xfrm>
          <a:prstGeom prst="rect">
            <a:avLst/>
          </a:prstGeom>
        </p:spPr>
      </p:pic>
      <p:pic>
        <p:nvPicPr>
          <p:cNvPr id="20" name="Picture 19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079529CA-9F22-4D7E-B162-4994CAA5B37F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504" y="3040821"/>
            <a:ext cx="1019692" cy="1019692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B117591-610D-4479-A76D-18515D152D6E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7289" y="4439741"/>
            <a:ext cx="1027135" cy="1023413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1E6D6D8C-F357-4893-86FA-59DCA556E6AA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0311" y="4439741"/>
            <a:ext cx="1019692" cy="1019692"/>
          </a:xfrm>
          <a:prstGeom prst="rect">
            <a:avLst/>
          </a:prstGeom>
        </p:spPr>
      </p:pic>
      <p:grpSp>
        <p:nvGrpSpPr>
          <p:cNvPr id="24" name="Group 23">
            <a:extLst>
              <a:ext uri="{FF2B5EF4-FFF2-40B4-BE49-F238E27FC236}">
                <a16:creationId xmlns:a16="http://schemas.microsoft.com/office/drawing/2014/main" id="{670F6A86-1745-4E02-B9CF-67A4A5325EBA}"/>
              </a:ext>
            </a:extLst>
          </p:cNvPr>
          <p:cNvGrpSpPr/>
          <p:nvPr/>
        </p:nvGrpSpPr>
        <p:grpSpPr>
          <a:xfrm>
            <a:off x="2203583" y="1521496"/>
            <a:ext cx="8940537" cy="4426110"/>
            <a:chOff x="1899921" y="1833246"/>
            <a:chExt cx="7071360" cy="3500754"/>
          </a:xfrm>
          <a:effectLst/>
        </p:grpSpPr>
        <p:sp>
          <p:nvSpPr>
            <p:cNvPr id="34" name="TextBox 4">
              <a:extLst>
                <a:ext uri="{FF2B5EF4-FFF2-40B4-BE49-F238E27FC236}">
                  <a16:creationId xmlns:a16="http://schemas.microsoft.com/office/drawing/2014/main" id="{63C1419B-D95F-425F-9BDF-2DEB4EAD5ED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192024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Integriteit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eerlik te wees en die regte ding </a:t>
              </a:r>
              <a:br>
                <a:rPr lang="nl-NL" sz="1200" dirty="0">
                  <a:solidFill>
                    <a:srgbClr val="001489"/>
                  </a:solidFill>
                  <a:latin typeface="Century Gothic" charset="0"/>
                </a:rPr>
              </a:b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te 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0" name="TextBox 4">
              <a:extLst>
                <a:ext uri="{FF2B5EF4-FFF2-40B4-BE49-F238E27FC236}">
                  <a16:creationId xmlns:a16="http://schemas.microsoft.com/office/drawing/2014/main" id="{551047DF-3CF1-42CD-B0C1-166720C60E5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Reageer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aan die behoeftes van ons burgers en werknemers te vol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BC10FCF6-B1FB-4E39-A6DD-540702FEB31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Aanspreeklikheid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ons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aanvaar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verantwoordelikhei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2" name="TextBox 4">
              <a:extLst>
                <a:ext uri="{FF2B5EF4-FFF2-40B4-BE49-F238E27FC236}">
                  <a16:creationId xmlns:a16="http://schemas.microsoft.com/office/drawing/2014/main" id="{4615122C-714C-4DAD-96FD-CEF5E118896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3007043"/>
              <a:ext cx="2722879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nl-NL" sz="2700" b="1" dirty="0">
                  <a:solidFill>
                    <a:srgbClr val="001489"/>
                  </a:solidFill>
                  <a:latin typeface="Century Gothic" charset="0"/>
                </a:rPr>
                <a:t>Bevoegdheid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die vermoë en bevoegdheid om die werk te doen waarvoor ons aangestel is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3" name="TextBox 4">
              <a:extLst>
                <a:ext uri="{FF2B5EF4-FFF2-40B4-BE49-F238E27FC236}">
                  <a16:creationId xmlns:a16="http://schemas.microsoft.com/office/drawing/2014/main" id="{7E0C05D7-C633-43CC-8D3B-B7982D9384F2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300600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Vernuwing</a:t>
              </a:r>
              <a:r>
                <a:rPr lang="en-US" sz="2700" b="1" dirty="0">
                  <a:solidFill>
                    <a:srgbClr val="001489"/>
                  </a:solidFill>
                  <a:latin typeface="Century Gothic" charset="0"/>
                </a:rPr>
                <a:t>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ontvanklik te wees vir nuwe idees en op vindingryke wyse kreatiewe oplossings vir probleme te vin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5" name="TextBox 4">
              <a:extLst>
                <a:ext uri="{FF2B5EF4-FFF2-40B4-BE49-F238E27FC236}">
                  <a16:creationId xmlns:a16="http://schemas.microsoft.com/office/drawing/2014/main" id="{077A6662-93A0-4193-B846-07DF50C57714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1833246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Sorgsaam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te gee vir diegene in wie se diens ons is en met wie ons werk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9A974582-BD7A-4E84-A195-801E231E95D4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37504" y="1521496"/>
            <a:ext cx="1019692" cy="10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09119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767350-ED47-4D3B-9124-206173749D6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spc="240" dirty="0">
                <a:solidFill>
                  <a:srgbClr val="001484"/>
                </a:solidFill>
              </a:rPr>
              <a:t>ONS KERNWAARDES</a:t>
            </a:r>
            <a:br>
              <a:rPr lang="en-US" sz="1600" spc="240" dirty="0">
                <a:solidFill>
                  <a:srgbClr val="001484"/>
                </a:solidFill>
              </a:rPr>
            </a:br>
            <a:r>
              <a:rPr lang="en-US" sz="1600" dirty="0" err="1">
                <a:solidFill>
                  <a:srgbClr val="5B7F95"/>
                </a:solidFill>
              </a:rPr>
              <a:t>Hierdi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des</a:t>
            </a:r>
            <a:r>
              <a:rPr lang="en-US" sz="1600" dirty="0">
                <a:solidFill>
                  <a:srgbClr val="5B7F95"/>
                </a:solidFill>
              </a:rPr>
              <a:t> is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leidende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beginsels</a:t>
            </a:r>
            <a:r>
              <a:rPr lang="en-US" sz="1600" dirty="0">
                <a:solidFill>
                  <a:srgbClr val="5B7F95"/>
                </a:solidFill>
              </a:rPr>
              <a:t> wat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voor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staa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e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waarin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ons</a:t>
            </a:r>
            <a:r>
              <a:rPr lang="en-US" sz="1600" dirty="0">
                <a:solidFill>
                  <a:srgbClr val="5B7F95"/>
                </a:solidFill>
              </a:rPr>
              <a:t> </a:t>
            </a:r>
            <a:r>
              <a:rPr lang="en-US" sz="1600" dirty="0" err="1">
                <a:solidFill>
                  <a:srgbClr val="5B7F95"/>
                </a:solidFill>
              </a:rPr>
              <a:t>glo</a:t>
            </a:r>
            <a:r>
              <a:rPr lang="en-US" sz="1600" dirty="0">
                <a:solidFill>
                  <a:srgbClr val="5B7F95"/>
                </a:solidFill>
              </a:rPr>
              <a:t>.</a:t>
            </a:r>
            <a:endParaRPr lang="en-ZA" sz="1600" dirty="0">
              <a:solidFill>
                <a:srgbClr val="5B7F95"/>
              </a:solidFill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1D7C5752-6137-4827-8790-C46F76B0D01A}"/>
              </a:ext>
            </a:extLst>
          </p:cNvPr>
          <p:cNvGrpSpPr/>
          <p:nvPr/>
        </p:nvGrpSpPr>
        <p:grpSpPr>
          <a:xfrm>
            <a:off x="458660" y="1422893"/>
            <a:ext cx="10879900" cy="4762284"/>
            <a:chOff x="973468" y="1833246"/>
            <a:chExt cx="7997813" cy="3500754"/>
          </a:xfrm>
          <a:effectLst/>
        </p:grpSpPr>
        <p:pic>
          <p:nvPicPr>
            <p:cNvPr id="19" name="Picture 2">
              <a:extLst>
                <a:ext uri="{FF2B5EF4-FFF2-40B4-BE49-F238E27FC236}">
                  <a16:creationId xmlns:a16="http://schemas.microsoft.com/office/drawing/2014/main" id="{E358C571-0B16-42E4-BE33-5C6C7035AB5F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73468" y="1846579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">
              <a:extLst>
                <a:ext uri="{FF2B5EF4-FFF2-40B4-BE49-F238E27FC236}">
                  <a16:creationId xmlns:a16="http://schemas.microsoft.com/office/drawing/2014/main" id="{484BE631-70D3-4BA6-BFBD-A45C6D5934C6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305816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0793258F-80F0-4193-A766-902B76B332B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5838" y="4198620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">
              <a:extLst>
                <a:ext uri="{FF2B5EF4-FFF2-40B4-BE49-F238E27FC236}">
                  <a16:creationId xmlns:a16="http://schemas.microsoft.com/office/drawing/2014/main" id="{9DD210B9-B871-421B-8900-A1DACF910EEE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5241" y="1846579"/>
              <a:ext cx="77216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">
              <a:extLst>
                <a:ext uri="{FF2B5EF4-FFF2-40B4-BE49-F238E27FC236}">
                  <a16:creationId xmlns:a16="http://schemas.microsoft.com/office/drawing/2014/main" id="{F61287F1-8537-4659-92FF-702E3AF84948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92700" y="4269740"/>
              <a:ext cx="769620" cy="77216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9" name="TextBox 4">
              <a:extLst>
                <a:ext uri="{FF2B5EF4-FFF2-40B4-BE49-F238E27FC236}">
                  <a16:creationId xmlns:a16="http://schemas.microsoft.com/office/drawing/2014/main" id="{F1CFF6E2-AF3F-4858-95C6-D133DFED0B6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Reageer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aan die behoeftes van ons burgers en werknemers te vol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6" name="TextBox 4">
              <a:extLst>
                <a:ext uri="{FF2B5EF4-FFF2-40B4-BE49-F238E27FC236}">
                  <a16:creationId xmlns:a16="http://schemas.microsoft.com/office/drawing/2014/main" id="{3F8E11F5-2E5B-4754-BB8C-B4E11609531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419862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Aanspreeklikheid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ons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aanvaar</a:t>
              </a:r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 </a:t>
              </a:r>
              <a:r>
                <a:rPr lang="en-US" sz="1200" dirty="0" err="1">
                  <a:solidFill>
                    <a:srgbClr val="001489"/>
                  </a:solidFill>
                  <a:latin typeface="Century Gothic" charset="0"/>
                </a:rPr>
                <a:t>verantwoordelikhei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7" name="TextBox 4">
              <a:extLst>
                <a:ext uri="{FF2B5EF4-FFF2-40B4-BE49-F238E27FC236}">
                  <a16:creationId xmlns:a16="http://schemas.microsoft.com/office/drawing/2014/main" id="{9752D906-F8FE-4B44-850C-B031ABE12047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3007043"/>
              <a:ext cx="2722879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nl-NL" sz="2700" b="1" dirty="0">
                  <a:solidFill>
                    <a:srgbClr val="001489"/>
                  </a:solidFill>
                  <a:latin typeface="Century Gothic" charset="0"/>
                </a:rPr>
                <a:t>Bevoegdheid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die vermoë en bevoegdheid om die werk te doen waarvoor ons aangestel is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8" name="TextBox 4">
              <a:extLst>
                <a:ext uri="{FF2B5EF4-FFF2-40B4-BE49-F238E27FC236}">
                  <a16:creationId xmlns:a16="http://schemas.microsoft.com/office/drawing/2014/main" id="{02CAB60E-3327-49C6-8C9C-294A7F638655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300600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Vernuwing</a:t>
              </a:r>
              <a:r>
                <a:rPr lang="en-US" sz="2700" b="1" dirty="0">
                  <a:solidFill>
                    <a:srgbClr val="001489"/>
                  </a:solidFill>
                  <a:latin typeface="Century Gothic" charset="0"/>
                </a:rPr>
                <a:t> </a:t>
              </a: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ontvanklik te wees vir nuwe idees en op vindingryke wyse kreatiewe oplossings vir probleme te vind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39" name="TextBox 4">
              <a:extLst>
                <a:ext uri="{FF2B5EF4-FFF2-40B4-BE49-F238E27FC236}">
                  <a16:creationId xmlns:a16="http://schemas.microsoft.com/office/drawing/2014/main" id="{322B5F0B-7D13-48EF-BF4D-720D6D17D626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6004561" y="1920240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Integriteit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eerlik te wees en die regte ding </a:t>
              </a:r>
              <a:br>
                <a:rPr lang="nl-NL" sz="1200" dirty="0">
                  <a:solidFill>
                    <a:srgbClr val="001489"/>
                  </a:solidFill>
                  <a:latin typeface="Century Gothic" charset="0"/>
                </a:rPr>
              </a:b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te doen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  <p:sp>
          <p:nvSpPr>
            <p:cNvPr id="40" name="TextBox 4">
              <a:extLst>
                <a:ext uri="{FF2B5EF4-FFF2-40B4-BE49-F238E27FC236}">
                  <a16:creationId xmlns:a16="http://schemas.microsoft.com/office/drawing/2014/main" id="{706CF299-BE8B-4231-B08B-68D3F03FBAB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1899921" y="1833246"/>
              <a:ext cx="2966720" cy="11353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700" b="1" dirty="0" err="1">
                  <a:solidFill>
                    <a:srgbClr val="001489"/>
                  </a:solidFill>
                  <a:latin typeface="Century Gothic" charset="0"/>
                </a:rPr>
                <a:t>Sorgsaam</a:t>
              </a:r>
              <a:endParaRPr lang="en-US" sz="2700" b="1" dirty="0">
                <a:solidFill>
                  <a:srgbClr val="001489"/>
                </a:solidFill>
                <a:latin typeface="Century Gothic" charset="0"/>
              </a:endParaRPr>
            </a:p>
            <a:p>
              <a:pPr>
                <a:spcAft>
                  <a:spcPts val="400"/>
                </a:spcAft>
              </a:pPr>
              <a:r>
                <a:rPr lang="nl-NL" sz="1200" dirty="0">
                  <a:solidFill>
                    <a:srgbClr val="001489"/>
                  </a:solidFill>
                  <a:latin typeface="Century Gothic" charset="0"/>
                </a:rPr>
                <a:t>om te gee vir diegene in wie se diens ons is en met wie ons werk</a:t>
              </a:r>
              <a:endParaRPr lang="en-US" sz="1200" dirty="0">
                <a:solidFill>
                  <a:srgbClr val="001489"/>
                </a:solidFill>
                <a:latin typeface="Century Gothic" charset="0"/>
              </a:endParaRPr>
            </a:p>
          </p:txBody>
        </p:sp>
      </p:grpSp>
      <p:pic>
        <p:nvPicPr>
          <p:cNvPr id="41" name="Picture 40">
            <a:extLst>
              <a:ext uri="{FF2B5EF4-FFF2-40B4-BE49-F238E27FC236}">
                <a16:creationId xmlns:a16="http://schemas.microsoft.com/office/drawing/2014/main" id="{5ADAFE3F-83E6-47BB-8550-EE339DB2562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2296" y="3085761"/>
            <a:ext cx="1053871" cy="105387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90060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DAEDF6-AB95-4CB8-8443-9CDC0A558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5" y="2403000"/>
            <a:ext cx="5380490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7910324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FF74E9-1056-4A9E-92A1-7ABB48465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1" y="2403000"/>
            <a:ext cx="5380497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2544654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FDAEDF6-AB95-4CB8-8443-9CDC0A558F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5" y="2403000"/>
            <a:ext cx="5380490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0629318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505ED06-5E0A-4572-B3E1-64BF8BAFA90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/>
              <a:t>Logos: WKR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WKOD</a:t>
            </a:r>
          </a:p>
        </p:txBody>
      </p:sp>
    </p:spTree>
    <p:extLst>
      <p:ext uri="{BB962C8B-B14F-4D97-AF65-F5344CB8AC3E}">
        <p14:creationId xmlns:p14="http://schemas.microsoft.com/office/powerpoint/2010/main" val="10128514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1EFF74E9-1056-4A9E-92A1-7ABB4846508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5751" y="2403000"/>
            <a:ext cx="5380497" cy="2052000"/>
          </a:xfrm>
          <a:prstGeom prst="rect">
            <a:avLst/>
          </a:prstGeom>
          <a:effectLst>
            <a:outerShdw blurRad="635000" dist="508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8253027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EDC92D7C-421A-4ADB-BA17-011C66AD1F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117" y="2133000"/>
            <a:ext cx="6979765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5015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CBDD7E20-A1AF-4503-95C4-264E7018C3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06119" y="2133000"/>
            <a:ext cx="6979761" cy="259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46938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292272F0-A6EA-41E2-BBD4-B8A63897BD0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7176" y="2439000"/>
            <a:ext cx="6457648" cy="19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8951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4A8C098-F7BF-4442-B58C-3497D04B562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67176" y="2439000"/>
            <a:ext cx="6457648" cy="19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76008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D04ED67-C53B-48DA-B2E1-B370322473C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 dirty="0" err="1"/>
              <a:t>Ons</a:t>
            </a:r>
            <a:r>
              <a:rPr lang="en-ZA" b="1" dirty="0"/>
              <a:t> </a:t>
            </a:r>
            <a:r>
              <a:rPr lang="en-ZA" b="1" dirty="0" err="1"/>
              <a:t>Visie</a:t>
            </a:r>
            <a:r>
              <a:rPr lang="en-ZA" b="1" dirty="0"/>
              <a:t> </a:t>
            </a:r>
            <a:r>
              <a:rPr lang="en-ZA" b="1" dirty="0">
                <a:solidFill>
                  <a:srgbClr val="5B7F95"/>
                </a:solidFill>
              </a:rPr>
              <a:t>|</a:t>
            </a:r>
            <a:r>
              <a:rPr lang="en-ZA" b="1" dirty="0"/>
              <a:t> </a:t>
            </a:r>
            <a:r>
              <a:rPr lang="en-ZA" b="1" dirty="0" err="1"/>
              <a:t>Kernwaardes</a:t>
            </a:r>
            <a:endParaRPr lang="en-ZA" b="1" dirty="0"/>
          </a:p>
        </p:txBody>
      </p:sp>
    </p:spTree>
    <p:extLst>
      <p:ext uri="{BB962C8B-B14F-4D97-AF65-F5344CB8AC3E}">
        <p14:creationId xmlns:p14="http://schemas.microsoft.com/office/powerpoint/2010/main" val="301799221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phic 4">
            <a:extLst>
              <a:ext uri="{FF2B5EF4-FFF2-40B4-BE49-F238E27FC236}">
                <a16:creationId xmlns:a16="http://schemas.microsoft.com/office/drawing/2014/main" id="{3C485690-2023-4D1D-AD53-060A47E0647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569" b="6826"/>
          <a:stretch/>
        </p:blipFill>
        <p:spPr>
          <a:xfrm>
            <a:off x="814769" y="312960"/>
            <a:ext cx="10704114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343943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phic 1">
            <a:extLst>
              <a:ext uri="{FF2B5EF4-FFF2-40B4-BE49-F238E27FC236}">
                <a16:creationId xmlns:a16="http://schemas.microsoft.com/office/drawing/2014/main" id="{1504753B-8CE9-4B92-BD7F-5835CB29378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829671"/>
            <a:ext cx="2486025" cy="3114675"/>
          </a:xfrm>
          <a:prstGeom prst="rect">
            <a:avLst/>
          </a:prstGeom>
        </p:spPr>
      </p:pic>
      <p:pic>
        <p:nvPicPr>
          <p:cNvPr id="3" name="Graphic 2">
            <a:extLst>
              <a:ext uri="{FF2B5EF4-FFF2-40B4-BE49-F238E27FC236}">
                <a16:creationId xmlns:a16="http://schemas.microsoft.com/office/drawing/2014/main" id="{7D797E67-564B-4899-AAF5-991134ACD4E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1277236"/>
            <a:ext cx="2609850" cy="285750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FEB6F0D8-DDF9-4C12-B403-A739CA570527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1019175"/>
            <a:ext cx="2724150" cy="2409825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3032BA6E-38FB-469D-B584-C0F5BEA12F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576262"/>
            <a:ext cx="2209800" cy="3295650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BF70B6DC-D09A-4D8B-80BA-5EEF0CC7196B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3323451"/>
            <a:ext cx="2600325" cy="27527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1CCA8F8-0223-40FC-8C28-08B3721C0CBF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615182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65715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68</TotalTime>
  <Words>232</Words>
  <Application>Microsoft Office PowerPoint</Application>
  <PresentationFormat>Widescreen</PresentationFormat>
  <Paragraphs>61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entury Gothic</vt:lpstr>
      <vt:lpstr>1_WCG-PPT Master-121022-am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e</vt:lpstr>
      <vt:lpstr>PowerPoint Presentation</vt:lpstr>
      <vt:lpstr>ONS KERNWAARDES Hierdie waardes is ons leidende beginsels wat ons voor staan en waarin ons glo.</vt:lpstr>
      <vt:lpstr>ONS KERNWAARDES Hierdie waardes is ons leidende beginsels wat ons voor staan en waarin ons glo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Melvine De Vos</cp:lastModifiedBy>
  <cp:revision>1556</cp:revision>
  <cp:lastPrinted>2019-01-28T07:09:01Z</cp:lastPrinted>
  <dcterms:created xsi:type="dcterms:W3CDTF">2017-01-19T08:56:34Z</dcterms:created>
  <dcterms:modified xsi:type="dcterms:W3CDTF">2023-01-18T06:29:37Z</dcterms:modified>
</cp:coreProperties>
</file>